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1663" r:id="rId3"/>
    <p:sldId id="1664" r:id="rId4"/>
    <p:sldId id="1665" r:id="rId5"/>
    <p:sldId id="1666" r:id="rId6"/>
    <p:sldId id="1670" r:id="rId7"/>
    <p:sldId id="1667" r:id="rId8"/>
    <p:sldId id="1669" r:id="rId9"/>
    <p:sldId id="1668" r:id="rId10"/>
    <p:sldId id="1671" r:id="rId11"/>
    <p:sldId id="1673" r:id="rId12"/>
    <p:sldId id="1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DBD95"/>
    <a:srgbClr val="DFC597"/>
    <a:srgbClr val="CDCB99"/>
    <a:srgbClr val="A1A1A1"/>
    <a:srgbClr val="595959"/>
    <a:srgbClr val="C33246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2371" autoAdjust="0"/>
  </p:normalViewPr>
  <p:slideViewPr>
    <p:cSldViewPr snapToGrid="0">
      <p:cViewPr>
        <p:scale>
          <a:sx n="73" d="100"/>
          <a:sy n="73" d="100"/>
        </p:scale>
        <p:origin x="384" y="4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E77B9605-6F14-4BA7-999D-5FF10AB18C9B}"/>
    <pc:docChg chg="undo custSel addSld delSld modSld modMainMaster">
      <pc:chgData name="Bhushan Madapura [UNext]" userId="2baadad7-7b8e-4632-a62a-dff9a334b569" providerId="ADAL" clId="{E77B9605-6F14-4BA7-999D-5FF10AB18C9B}" dt="2023-08-08T06:32:22.775" v="314" actId="20577"/>
      <pc:docMkLst>
        <pc:docMk/>
      </pc:docMkLst>
      <pc:sldChg chg="delSp modSp mod">
        <pc:chgData name="Bhushan Madapura [UNext]" userId="2baadad7-7b8e-4632-a62a-dff9a334b569" providerId="ADAL" clId="{E77B9605-6F14-4BA7-999D-5FF10AB18C9B}" dt="2023-08-08T06:13:17.107" v="3" actId="478"/>
        <pc:sldMkLst>
          <pc:docMk/>
          <pc:sldMk cId="3267775274" sldId="256"/>
        </pc:sldMkLst>
        <pc:spChg chg="mod">
          <ac:chgData name="Bhushan Madapura [UNext]" userId="2baadad7-7b8e-4632-a62a-dff9a334b569" providerId="ADAL" clId="{E77B9605-6F14-4BA7-999D-5FF10AB18C9B}" dt="2023-08-08T06:12:54.340" v="1" actId="20577"/>
          <ac:spMkLst>
            <pc:docMk/>
            <pc:sldMk cId="3267775274" sldId="256"/>
            <ac:spMk id="13" creationId="{C48F8DD6-A1B3-8126-FAC3-218B712C7FFB}"/>
          </ac:spMkLst>
        </pc:spChg>
        <pc:grpChg chg="del">
          <ac:chgData name="Bhushan Madapura [UNext]" userId="2baadad7-7b8e-4632-a62a-dff9a334b569" providerId="ADAL" clId="{E77B9605-6F14-4BA7-999D-5FF10AB18C9B}" dt="2023-08-08T06:13:17.107" v="3" actId="478"/>
          <ac:grpSpMkLst>
            <pc:docMk/>
            <pc:sldMk cId="3267775274" sldId="256"/>
            <ac:grpSpMk id="7" creationId="{EE9BE476-4E72-25F2-C6F4-5EDE100DBBAE}"/>
          </ac:grpSpMkLst>
        </pc:grpChg>
      </pc:sldChg>
      <pc:sldChg chg="modSp mod">
        <pc:chgData name="Bhushan Madapura [UNext]" userId="2baadad7-7b8e-4632-a62a-dff9a334b569" providerId="ADAL" clId="{E77B9605-6F14-4BA7-999D-5FF10AB18C9B}" dt="2023-08-08T06:31:43.126" v="268" actId="20577"/>
        <pc:sldMkLst>
          <pc:docMk/>
          <pc:sldMk cId="1651187912" sldId="1663"/>
        </pc:sldMkLst>
        <pc:spChg chg="mod">
          <ac:chgData name="Bhushan Madapura [UNext]" userId="2baadad7-7b8e-4632-a62a-dff9a334b569" providerId="ADAL" clId="{E77B9605-6F14-4BA7-999D-5FF10AB18C9B}" dt="2023-08-08T06:31:43.126" v="268" actId="20577"/>
          <ac:spMkLst>
            <pc:docMk/>
            <pc:sldMk cId="1651187912" sldId="1663"/>
            <ac:spMk id="2" creationId="{D141EE2C-9837-486A-6448-5AE23F8A6EAD}"/>
          </ac:spMkLst>
        </pc:spChg>
      </pc:sldChg>
      <pc:sldChg chg="modSp mod">
        <pc:chgData name="Bhushan Madapura [UNext]" userId="2baadad7-7b8e-4632-a62a-dff9a334b569" providerId="ADAL" clId="{E77B9605-6F14-4BA7-999D-5FF10AB18C9B}" dt="2023-08-08T06:27:41.987" v="164" actId="20577"/>
        <pc:sldMkLst>
          <pc:docMk/>
          <pc:sldMk cId="3023193416" sldId="1664"/>
        </pc:sldMkLst>
        <pc:spChg chg="mod">
          <ac:chgData name="Bhushan Madapura [UNext]" userId="2baadad7-7b8e-4632-a62a-dff9a334b569" providerId="ADAL" clId="{E77B9605-6F14-4BA7-999D-5FF10AB18C9B}" dt="2023-08-08T06:20:45.088" v="4" actId="6549"/>
          <ac:spMkLst>
            <pc:docMk/>
            <pc:sldMk cId="3023193416" sldId="1664"/>
            <ac:spMk id="5" creationId="{37F139C7-B669-9610-4E2A-943C79E218C4}"/>
          </ac:spMkLst>
        </pc:spChg>
        <pc:spChg chg="mod">
          <ac:chgData name="Bhushan Madapura [UNext]" userId="2baadad7-7b8e-4632-a62a-dff9a334b569" providerId="ADAL" clId="{E77B9605-6F14-4BA7-999D-5FF10AB18C9B}" dt="2023-08-08T06:27:41.987" v="164" actId="20577"/>
          <ac:spMkLst>
            <pc:docMk/>
            <pc:sldMk cId="3023193416" sldId="1664"/>
            <ac:spMk id="9" creationId="{F3E7E601-D7F2-A43C-37FA-BD2736A077CF}"/>
          </ac:spMkLst>
        </pc:spChg>
      </pc:sldChg>
      <pc:sldChg chg="modSp add mod">
        <pc:chgData name="Bhushan Madapura [UNext]" userId="2baadad7-7b8e-4632-a62a-dff9a334b569" providerId="ADAL" clId="{E77B9605-6F14-4BA7-999D-5FF10AB18C9B}" dt="2023-08-08T06:29:05.954" v="233" actId="20577"/>
        <pc:sldMkLst>
          <pc:docMk/>
          <pc:sldMk cId="1345837746" sldId="1665"/>
        </pc:sldMkLst>
        <pc:spChg chg="mod">
          <ac:chgData name="Bhushan Madapura [UNext]" userId="2baadad7-7b8e-4632-a62a-dff9a334b569" providerId="ADAL" clId="{E77B9605-6F14-4BA7-999D-5FF10AB18C9B}" dt="2023-08-08T06:29:05.954" v="233" actId="20577"/>
          <ac:spMkLst>
            <pc:docMk/>
            <pc:sldMk cId="1345837746" sldId="1665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E77B9605-6F14-4BA7-999D-5FF10AB18C9B}" dt="2023-08-08T06:28:34.837" v="174" actId="20577"/>
          <ac:spMkLst>
            <pc:docMk/>
            <pc:sldMk cId="1345837746" sldId="1665"/>
            <ac:spMk id="5" creationId="{37F139C7-B669-9610-4E2A-943C79E218C4}"/>
          </ac:spMkLst>
        </pc:spChg>
      </pc:sldChg>
      <pc:sldChg chg="modSp mod">
        <pc:chgData name="Bhushan Madapura [UNext]" userId="2baadad7-7b8e-4632-a62a-dff9a334b569" providerId="ADAL" clId="{E77B9605-6F14-4BA7-999D-5FF10AB18C9B}" dt="2023-08-08T06:30:17.354" v="263"/>
        <pc:sldMkLst>
          <pc:docMk/>
          <pc:sldMk cId="1272931063" sldId="1666"/>
        </pc:sldMkLst>
        <pc:spChg chg="mod">
          <ac:chgData name="Bhushan Madapura [UNext]" userId="2baadad7-7b8e-4632-a62a-dff9a334b569" providerId="ADAL" clId="{E77B9605-6F14-4BA7-999D-5FF10AB18C9B}" dt="2023-08-08T06:21:46.952" v="44" actId="20577"/>
          <ac:spMkLst>
            <pc:docMk/>
            <pc:sldMk cId="1272931063" sldId="1666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E77B9605-6F14-4BA7-999D-5FF10AB18C9B}" dt="2023-08-08T06:30:17.354" v="263"/>
          <ac:spMkLst>
            <pc:docMk/>
            <pc:sldMk cId="1272931063" sldId="1666"/>
            <ac:spMk id="5" creationId="{37F139C7-B669-9610-4E2A-943C79E218C4}"/>
          </ac:spMkLst>
        </pc:spChg>
      </pc:sldChg>
      <pc:sldChg chg="add del">
        <pc:chgData name="Bhushan Madapura [UNext]" userId="2baadad7-7b8e-4632-a62a-dff9a334b569" providerId="ADAL" clId="{E77B9605-6F14-4BA7-999D-5FF10AB18C9B}" dt="2023-08-08T06:30:41.068" v="266"/>
        <pc:sldMkLst>
          <pc:docMk/>
          <pc:sldMk cId="3525371515" sldId="1670"/>
        </pc:sldMkLst>
      </pc:sldChg>
      <pc:sldChg chg="modSp mod">
        <pc:chgData name="Bhushan Madapura [UNext]" userId="2baadad7-7b8e-4632-a62a-dff9a334b569" providerId="ADAL" clId="{E77B9605-6F14-4BA7-999D-5FF10AB18C9B}" dt="2023-08-08T06:32:22.775" v="314" actId="20577"/>
        <pc:sldMkLst>
          <pc:docMk/>
          <pc:sldMk cId="2631445469" sldId="1673"/>
        </pc:sldMkLst>
        <pc:spChg chg="mod">
          <ac:chgData name="Bhushan Madapura [UNext]" userId="2baadad7-7b8e-4632-a62a-dff9a334b569" providerId="ADAL" clId="{E77B9605-6F14-4BA7-999D-5FF10AB18C9B}" dt="2023-08-08T06:32:22.775" v="314" actId="20577"/>
          <ac:spMkLst>
            <pc:docMk/>
            <pc:sldMk cId="2631445469" sldId="1673"/>
            <ac:spMk id="2" creationId="{D141EE2C-9837-486A-6448-5AE23F8A6EAD}"/>
          </ac:spMkLst>
        </pc:spChg>
      </pc:sldChg>
      <pc:sldChg chg="del">
        <pc:chgData name="Bhushan Madapura [UNext]" userId="2baadad7-7b8e-4632-a62a-dff9a334b569" providerId="ADAL" clId="{E77B9605-6F14-4BA7-999D-5FF10AB18C9B}" dt="2023-08-08T06:31:08.834" v="267" actId="47"/>
        <pc:sldMkLst>
          <pc:docMk/>
          <pc:sldMk cId="173762979" sldId="1674"/>
        </pc:sldMkLst>
      </pc:sldChg>
      <pc:sldChg chg="del">
        <pc:chgData name="Bhushan Madapura [UNext]" userId="2baadad7-7b8e-4632-a62a-dff9a334b569" providerId="ADAL" clId="{E77B9605-6F14-4BA7-999D-5FF10AB18C9B}" dt="2023-08-08T06:30:30.011" v="265" actId="47"/>
        <pc:sldMkLst>
          <pc:docMk/>
          <pc:sldMk cId="3521631328" sldId="1675"/>
        </pc:sldMkLst>
      </pc:sldChg>
      <pc:sldMasterChg chg="modSldLayout">
        <pc:chgData name="Bhushan Madapura [UNext]" userId="2baadad7-7b8e-4632-a62a-dff9a334b569" providerId="ADAL" clId="{E77B9605-6F14-4BA7-999D-5FF10AB18C9B}" dt="2023-08-08T06:13:13.243" v="2"/>
        <pc:sldMasterMkLst>
          <pc:docMk/>
          <pc:sldMasterMk cId="2597032904" sldId="2147483648"/>
        </pc:sldMasterMkLst>
        <pc:sldLayoutChg chg="addSp modSp">
          <pc:chgData name="Bhushan Madapura [UNext]" userId="2baadad7-7b8e-4632-a62a-dff9a334b569" providerId="ADAL" clId="{E77B9605-6F14-4BA7-999D-5FF10AB18C9B}" dt="2023-08-08T06:13:13.243" v="2"/>
          <pc:sldLayoutMkLst>
            <pc:docMk/>
            <pc:sldMasterMk cId="2597032904" sldId="2147483648"/>
            <pc:sldLayoutMk cId="52525660" sldId="2147483649"/>
          </pc:sldLayoutMkLst>
          <pc:spChg chg="mod">
            <ac:chgData name="Bhushan Madapura [UNext]" userId="2baadad7-7b8e-4632-a62a-dff9a334b569" providerId="ADAL" clId="{E77B9605-6F14-4BA7-999D-5FF10AB18C9B}" dt="2023-08-08T06:13:13.243" v="2"/>
            <ac:spMkLst>
              <pc:docMk/>
              <pc:sldMasterMk cId="2597032904" sldId="2147483648"/>
              <pc:sldLayoutMk cId="52525660" sldId="2147483649"/>
              <ac:spMk id="5" creationId="{11F26835-DF06-B8BA-0886-1CDC95B5EF2E}"/>
            </ac:spMkLst>
          </pc:spChg>
          <pc:grpChg chg="add mod">
            <ac:chgData name="Bhushan Madapura [UNext]" userId="2baadad7-7b8e-4632-a62a-dff9a334b569" providerId="ADAL" clId="{E77B9605-6F14-4BA7-999D-5FF10AB18C9B}" dt="2023-08-08T06:13:13.243" v="2"/>
            <ac:grpSpMkLst>
              <pc:docMk/>
              <pc:sldMasterMk cId="2597032904" sldId="2147483648"/>
              <pc:sldLayoutMk cId="52525660" sldId="2147483649"/>
              <ac:grpSpMk id="2" creationId="{AB2578B7-8AED-DB21-9820-973A194CFAAB}"/>
            </ac:grpSpMkLst>
          </pc:grpChg>
          <pc:picChg chg="mod">
            <ac:chgData name="Bhushan Madapura [UNext]" userId="2baadad7-7b8e-4632-a62a-dff9a334b569" providerId="ADAL" clId="{E77B9605-6F14-4BA7-999D-5FF10AB18C9B}" dt="2023-08-08T06:13:13.243" v="2"/>
            <ac:picMkLst>
              <pc:docMk/>
              <pc:sldMasterMk cId="2597032904" sldId="2147483648"/>
              <pc:sldLayoutMk cId="52525660" sldId="2147483649"/>
              <ac:picMk id="6" creationId="{F52361CD-B0B1-2C30-BFC9-D696FF94C71E}"/>
            </ac:picMkLst>
          </pc:picChg>
        </pc:sldLayoutChg>
      </pc:sldMasterChg>
    </pc:docChg>
  </pc:docChgLst>
  <pc:docChgLst>
    <pc:chgData name="Bhushan Madapura [UNext]" userId="2baadad7-7b8e-4632-a62a-dff9a334b569" providerId="ADAL" clId="{0A2C77D0-81F3-439E-B194-BF2429D4B7F1}"/>
    <pc:docChg chg="custSel addSld delSld modSld sldOrd">
      <pc:chgData name="Bhushan Madapura [UNext]" userId="2baadad7-7b8e-4632-a62a-dff9a334b569" providerId="ADAL" clId="{0A2C77D0-81F3-439E-B194-BF2429D4B7F1}" dt="2023-02-14T07:50:29.695" v="537" actId="47"/>
      <pc:docMkLst>
        <pc:docMk/>
      </pc:docMkLst>
      <pc:sldChg chg="modSp mod">
        <pc:chgData name="Bhushan Madapura [UNext]" userId="2baadad7-7b8e-4632-a62a-dff9a334b569" providerId="ADAL" clId="{0A2C77D0-81F3-439E-B194-BF2429D4B7F1}" dt="2023-02-14T07:50:15.363" v="536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0A2C77D0-81F3-439E-B194-BF2429D4B7F1}" dt="2023-02-14T07:50:15.363" v="536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modSp mod">
        <pc:chgData name="Bhushan Madapura [UNext]" userId="2baadad7-7b8e-4632-a62a-dff9a334b569" providerId="ADAL" clId="{0A2C77D0-81F3-439E-B194-BF2429D4B7F1}" dt="2023-02-14T07:48:49.938" v="491" actId="6549"/>
        <pc:sldMkLst>
          <pc:docMk/>
          <pc:sldMk cId="1651187912" sldId="1663"/>
        </pc:sldMkLst>
        <pc:spChg chg="mod">
          <ac:chgData name="Bhushan Madapura [UNext]" userId="2baadad7-7b8e-4632-a62a-dff9a334b569" providerId="ADAL" clId="{0A2C77D0-81F3-439E-B194-BF2429D4B7F1}" dt="2023-02-14T07:48:49.938" v="491" actId="6549"/>
          <ac:spMkLst>
            <pc:docMk/>
            <pc:sldMk cId="1651187912" sldId="1663"/>
            <ac:spMk id="2" creationId="{D141EE2C-9837-486A-6448-5AE23F8A6EAD}"/>
          </ac:spMkLst>
        </pc:spChg>
      </pc:sldChg>
      <pc:sldChg chg="modSp mod">
        <pc:chgData name="Bhushan Madapura [UNext]" userId="2baadad7-7b8e-4632-a62a-dff9a334b569" providerId="ADAL" clId="{0A2C77D0-81F3-439E-B194-BF2429D4B7F1}" dt="2023-02-14T07:49:08.986" v="525" actId="20577"/>
        <pc:sldMkLst>
          <pc:docMk/>
          <pc:sldMk cId="1345837746" sldId="1665"/>
        </pc:sldMkLst>
        <pc:spChg chg="mod">
          <ac:chgData name="Bhushan Madapura [UNext]" userId="2baadad7-7b8e-4632-a62a-dff9a334b569" providerId="ADAL" clId="{0A2C77D0-81F3-439E-B194-BF2429D4B7F1}" dt="2023-02-14T07:49:08.986" v="525" actId="20577"/>
          <ac:spMkLst>
            <pc:docMk/>
            <pc:sldMk cId="1345837746" sldId="1665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2-14T07:49:02.637" v="515" actId="20577"/>
          <ac:spMkLst>
            <pc:docMk/>
            <pc:sldMk cId="1345837746" sldId="1665"/>
            <ac:spMk id="5" creationId="{37F139C7-B669-9610-4E2A-943C79E218C4}"/>
          </ac:spMkLst>
        </pc:spChg>
      </pc:sldChg>
      <pc:sldChg chg="modSp add del mod ord">
        <pc:chgData name="Bhushan Madapura [UNext]" userId="2baadad7-7b8e-4632-a62a-dff9a334b569" providerId="ADAL" clId="{0A2C77D0-81F3-439E-B194-BF2429D4B7F1}" dt="2023-02-14T07:50:29.695" v="537" actId="47"/>
        <pc:sldMkLst>
          <pc:docMk/>
          <pc:sldMk cId="1406847613" sldId="1672"/>
        </pc:sldMkLst>
        <pc:spChg chg="mod">
          <ac:chgData name="Bhushan Madapura [UNext]" userId="2baadad7-7b8e-4632-a62a-dff9a334b569" providerId="ADAL" clId="{0A2C77D0-81F3-439E-B194-BF2429D4B7F1}" dt="2023-02-14T07:48:11.481" v="489" actId="20577"/>
          <ac:spMkLst>
            <pc:docMk/>
            <pc:sldMk cId="1406847613" sldId="1672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1-25T13:53:19.947" v="66" actId="20577"/>
          <ac:spMkLst>
            <pc:docMk/>
            <pc:sldMk cId="1406847613" sldId="1672"/>
            <ac:spMk id="5" creationId="{37F139C7-B669-9610-4E2A-943C79E218C4}"/>
          </ac:spMkLst>
        </pc:spChg>
      </pc:sldChg>
      <pc:sldChg chg="modSp add mod">
        <pc:chgData name="Bhushan Madapura [UNext]" userId="2baadad7-7b8e-4632-a62a-dff9a334b569" providerId="ADAL" clId="{0A2C77D0-81F3-439E-B194-BF2429D4B7F1}" dt="2023-01-25T13:58:54.304" v="449" actId="20577"/>
        <pc:sldMkLst>
          <pc:docMk/>
          <pc:sldMk cId="2631445469" sldId="1673"/>
        </pc:sldMkLst>
        <pc:spChg chg="mod">
          <ac:chgData name="Bhushan Madapura [UNext]" userId="2baadad7-7b8e-4632-a62a-dff9a334b569" providerId="ADAL" clId="{0A2C77D0-81F3-439E-B194-BF2429D4B7F1}" dt="2023-01-25T13:58:54.304" v="449" actId="20577"/>
          <ac:spMkLst>
            <pc:docMk/>
            <pc:sldMk cId="2631445469" sldId="1673"/>
            <ac:spMk id="2" creationId="{D141EE2C-9837-486A-6448-5AE23F8A6EAD}"/>
          </ac:spMkLst>
        </pc:spChg>
        <pc:spChg chg="mod">
          <ac:chgData name="Bhushan Madapura [UNext]" userId="2baadad7-7b8e-4632-a62a-dff9a334b569" providerId="ADAL" clId="{0A2C77D0-81F3-439E-B194-BF2429D4B7F1}" dt="2023-01-25T13:54:30.966" v="119" actId="20577"/>
          <ac:spMkLst>
            <pc:docMk/>
            <pc:sldMk cId="2631445469" sldId="1673"/>
            <ac:spMk id="5" creationId="{37F139C7-B669-9610-4E2A-943C79E218C4}"/>
          </ac:spMkLst>
        </pc:spChg>
      </pc:sldChg>
      <pc:sldChg chg="modSp add del mod">
        <pc:chgData name="Bhushan Madapura [UNext]" userId="2baadad7-7b8e-4632-a62a-dff9a334b569" providerId="ADAL" clId="{0A2C77D0-81F3-439E-B194-BF2429D4B7F1}" dt="2023-02-14T07:49:57.153" v="526" actId="47"/>
        <pc:sldMkLst>
          <pc:docMk/>
          <pc:sldMk cId="414632558" sldId="1674"/>
        </pc:sldMkLst>
        <pc:spChg chg="mod">
          <ac:chgData name="Bhushan Madapura [UNext]" userId="2baadad7-7b8e-4632-a62a-dff9a334b569" providerId="ADAL" clId="{0A2C77D0-81F3-439E-B194-BF2429D4B7F1}" dt="2023-01-25T13:59:22.785" v="472" actId="20577"/>
          <ac:spMkLst>
            <pc:docMk/>
            <pc:sldMk cId="414632558" sldId="1674"/>
            <ac:spMk id="5" creationId="{37F139C7-B669-9610-4E2A-943C79E218C4}"/>
          </ac:spMkLst>
        </pc:spChg>
      </pc:sldChg>
    </pc:docChg>
  </pc:docChgLst>
  <pc:docChgLst>
    <pc:chgData name="Samiksha J Chandrappa [UNext]" userId="S::samiksha.chandrappa@u-next.com::4c56b709-6087-48a2-9de2-0115b3d57ab9" providerId="AD" clId="Web-{677D055F-265B-828C-6438-4CE9996D50A9}"/>
    <pc:docChg chg="modSld">
      <pc:chgData name="Samiksha J Chandrappa [UNext]" userId="S::samiksha.chandrappa@u-next.com::4c56b709-6087-48a2-9de2-0115b3d57ab9" providerId="AD" clId="Web-{677D055F-265B-828C-6438-4CE9996D50A9}" dt="2023-08-08T04:30:32.554" v="71" actId="1076"/>
      <pc:docMkLst>
        <pc:docMk/>
      </pc:docMkLst>
      <pc:sldChg chg="modSp">
        <pc:chgData name="Samiksha J Chandrappa [UNext]" userId="S::samiksha.chandrappa@u-next.com::4c56b709-6087-48a2-9de2-0115b3d57ab9" providerId="AD" clId="Web-{677D055F-265B-828C-6438-4CE9996D50A9}" dt="2023-08-08T04:28:40.709" v="45" actId="20577"/>
        <pc:sldMkLst>
          <pc:docMk/>
          <pc:sldMk cId="3267775274" sldId="256"/>
        </pc:sldMkLst>
        <pc:spChg chg="mod">
          <ac:chgData name="Samiksha J Chandrappa [UNext]" userId="S::samiksha.chandrappa@u-next.com::4c56b709-6087-48a2-9de2-0115b3d57ab9" providerId="AD" clId="Web-{677D055F-265B-828C-6438-4CE9996D50A9}" dt="2023-08-08T04:25:30.191" v="3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amiksha J Chandrappa [UNext]" userId="S::samiksha.chandrappa@u-next.com::4c56b709-6087-48a2-9de2-0115b3d57ab9" providerId="AD" clId="Web-{677D055F-265B-828C-6438-4CE9996D50A9}" dt="2023-08-08T04:28:40.709" v="45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modSp">
        <pc:chgData name="Samiksha J Chandrappa [UNext]" userId="S::samiksha.chandrappa@u-next.com::4c56b709-6087-48a2-9de2-0115b3d57ab9" providerId="AD" clId="Web-{677D055F-265B-828C-6438-4CE9996D50A9}" dt="2023-08-08T04:26:31.973" v="10" actId="14100"/>
        <pc:sldMkLst>
          <pc:docMk/>
          <pc:sldMk cId="1651187912" sldId="1663"/>
        </pc:sldMkLst>
        <pc:spChg chg="mod">
          <ac:chgData name="Samiksha J Chandrappa [UNext]" userId="S::samiksha.chandrappa@u-next.com::4c56b709-6087-48a2-9de2-0115b3d57ab9" providerId="AD" clId="Web-{677D055F-265B-828C-6438-4CE9996D50A9}" dt="2023-08-08T04:26:31.973" v="10" actId="14100"/>
          <ac:spMkLst>
            <pc:docMk/>
            <pc:sldMk cId="1651187912" sldId="1663"/>
            <ac:spMk id="2" creationId="{D141EE2C-9837-486A-6448-5AE23F8A6EAD}"/>
          </ac:spMkLst>
        </pc:spChg>
      </pc:sldChg>
      <pc:sldChg chg="delSp modSp">
        <pc:chgData name="Samiksha J Chandrappa [UNext]" userId="S::samiksha.chandrappa@u-next.com::4c56b709-6087-48a2-9de2-0115b3d57ab9" providerId="AD" clId="Web-{677D055F-265B-828C-6438-4CE9996D50A9}" dt="2023-08-08T04:30:32.554" v="71" actId="1076"/>
        <pc:sldMkLst>
          <pc:docMk/>
          <pc:sldMk cId="3023193416" sldId="1664"/>
        </pc:sldMkLst>
        <pc:spChg chg="mod">
          <ac:chgData name="Samiksha J Chandrappa [UNext]" userId="S::samiksha.chandrappa@u-next.com::4c56b709-6087-48a2-9de2-0115b3d57ab9" providerId="AD" clId="Web-{677D055F-265B-828C-6438-4CE9996D50A9}" dt="2023-08-08T04:27:29.630" v="27" actId="20577"/>
          <ac:spMkLst>
            <pc:docMk/>
            <pc:sldMk cId="3023193416" sldId="1664"/>
            <ac:spMk id="5" creationId="{37F139C7-B669-9610-4E2A-943C79E218C4}"/>
          </ac:spMkLst>
        </pc:spChg>
        <pc:spChg chg="mod">
          <ac:chgData name="Samiksha J Chandrappa [UNext]" userId="S::samiksha.chandrappa@u-next.com::4c56b709-6087-48a2-9de2-0115b3d57ab9" providerId="AD" clId="Web-{677D055F-265B-828C-6438-4CE9996D50A9}" dt="2023-08-08T04:30:32.554" v="71" actId="1076"/>
          <ac:spMkLst>
            <pc:docMk/>
            <pc:sldMk cId="3023193416" sldId="1664"/>
            <ac:spMk id="9" creationId="{F3E7E601-D7F2-A43C-37FA-BD2736A077CF}"/>
          </ac:spMkLst>
        </pc:spChg>
        <pc:spChg chg="del">
          <ac:chgData name="Samiksha J Chandrappa [UNext]" userId="S::samiksha.chandrappa@u-next.com::4c56b709-6087-48a2-9de2-0115b3d57ab9" providerId="AD" clId="Web-{677D055F-265B-828C-6438-4CE9996D50A9}" dt="2023-08-08T04:26:50.442" v="14"/>
          <ac:spMkLst>
            <pc:docMk/>
            <pc:sldMk cId="3023193416" sldId="1664"/>
            <ac:spMk id="10" creationId="{A9573E63-9C03-8FA4-2E01-B8257DB3CD67}"/>
          </ac:spMkLst>
        </pc:spChg>
        <pc:spChg chg="del mod">
          <ac:chgData name="Samiksha J Chandrappa [UNext]" userId="S::samiksha.chandrappa@u-next.com::4c56b709-6087-48a2-9de2-0115b3d57ab9" providerId="AD" clId="Web-{677D055F-265B-828C-6438-4CE9996D50A9}" dt="2023-08-08T04:26:55.520" v="16"/>
          <ac:spMkLst>
            <pc:docMk/>
            <pc:sldMk cId="3023193416" sldId="1664"/>
            <ac:spMk id="11" creationId="{5F9524F3-791C-BF7F-36B7-D4B6E7C8FCB6}"/>
          </ac:spMkLst>
        </pc:spChg>
        <pc:spChg chg="del">
          <ac:chgData name="Samiksha J Chandrappa [UNext]" userId="S::samiksha.chandrappa@u-next.com::4c56b709-6087-48a2-9de2-0115b3d57ab9" providerId="AD" clId="Web-{677D055F-265B-828C-6438-4CE9996D50A9}" dt="2023-08-08T04:26:49.739" v="13"/>
          <ac:spMkLst>
            <pc:docMk/>
            <pc:sldMk cId="3023193416" sldId="1664"/>
            <ac:spMk id="12" creationId="{BB0444D2-F9D4-9FB8-4C46-D327A514DD73}"/>
          </ac:spMkLst>
        </pc:spChg>
      </pc:sldChg>
    </pc:docChg>
  </pc:docChgLst>
  <pc:docChgLst>
    <pc:chgData name="Atul Pahlazani" userId="ae1b1d88-21ec-4209-b76f-9d5b955bb3f7" providerId="ADAL" clId="{BD5C4FA6-4980-4F92-9F71-117B5208BBDB}"/>
    <pc:docChg chg="modSld">
      <pc:chgData name="Atul Pahlazani" userId="ae1b1d88-21ec-4209-b76f-9d5b955bb3f7" providerId="ADAL" clId="{BD5C4FA6-4980-4F92-9F71-117B5208BBDB}" dt="2023-08-26T03:49:25.036" v="24" actId="20577"/>
      <pc:docMkLst>
        <pc:docMk/>
      </pc:docMkLst>
      <pc:sldChg chg="modSp mod">
        <pc:chgData name="Atul Pahlazani" userId="ae1b1d88-21ec-4209-b76f-9d5b955bb3f7" providerId="ADAL" clId="{BD5C4FA6-4980-4F92-9F71-117B5208BBDB}" dt="2023-08-26T03:49:25.036" v="24" actId="20577"/>
        <pc:sldMkLst>
          <pc:docMk/>
          <pc:sldMk cId="3267775274" sldId="256"/>
        </pc:sldMkLst>
        <pc:spChg chg="mod">
          <ac:chgData name="Atul Pahlazani" userId="ae1b1d88-21ec-4209-b76f-9d5b955bb3f7" providerId="ADAL" clId="{BD5C4FA6-4980-4F92-9F71-117B5208BBDB}" dt="2023-08-26T03:49:25.036" v="24" actId="20577"/>
          <ac:spMkLst>
            <pc:docMk/>
            <pc:sldMk cId="3267775274" sldId="256"/>
            <ac:spMk id="13" creationId="{C48F8DD6-A1B3-8126-FAC3-218B712C7FF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2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5/08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B2578B7-8AED-DB21-9820-973A194CFAAB}"/>
              </a:ext>
            </a:extLst>
          </p:cNvPr>
          <p:cNvGrpSpPr/>
          <p:nvPr userDrawn="1"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1F26835-DF06-B8BA-0886-1CDC95B5EF2E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52361CD-B0B1-2C30-BFC9-D696FF94C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25-08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25-08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193980"/>
            <a:ext cx="10525125" cy="1106970"/>
          </a:xfrm>
        </p:spPr>
        <p:txBody>
          <a:bodyPr anchor="b">
            <a:spAutoFit/>
          </a:bodyPr>
          <a:lstStyle/>
          <a:p>
            <a:r>
              <a:rPr lang="en-US" sz="3200" dirty="0"/>
              <a:t>Certification in Advanced Tech Service Engineering</a:t>
            </a:r>
          </a:p>
          <a:p>
            <a:r>
              <a:rPr lang="en-US" sz="3200" dirty="0">
                <a:latin typeface="Arial"/>
                <a:cs typeface="Arial"/>
              </a:rPr>
              <a:t>&lt;Case Study Name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123110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TSE Advanced Batch 2</a:t>
            </a:r>
          </a:p>
          <a:p>
            <a:r>
              <a:rPr lang="en-IN" b="1" dirty="0">
                <a:solidFill>
                  <a:schemeClr val="bg1"/>
                </a:solidFill>
              </a:rPr>
              <a:t>Atul Pahlazani</a:t>
            </a:r>
          </a:p>
          <a:p>
            <a:endParaRPr lang="en-IN" b="1" dirty="0">
              <a:solidFill>
                <a:schemeClr val="bg1"/>
              </a:solidFill>
            </a:endParaRPr>
          </a:p>
          <a:p>
            <a:r>
              <a:rPr lang="en-IN" b="1" dirty="0">
                <a:solidFill>
                  <a:schemeClr val="bg1"/>
                </a:solidFill>
              </a:rPr>
              <a:t>25</a:t>
            </a:r>
            <a:r>
              <a:rPr lang="en-IN" b="1" baseline="30000" dirty="0">
                <a:solidFill>
                  <a:schemeClr val="bg1"/>
                </a:solidFill>
              </a:rPr>
              <a:t>th</a:t>
            </a:r>
            <a:r>
              <a:rPr lang="en-IN" b="1" dirty="0">
                <a:solidFill>
                  <a:schemeClr val="bg1"/>
                </a:solidFill>
              </a:rPr>
              <a:t> Aug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been your manager’s feedback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Kindly have a discussion with your manager on your learnings from the module. In this section, please include details of your manager’s feedback/inputs/support extended for your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extra has been implemented in the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In this section you can share details of extra functionality/additional technical solutions that you have implemented in your case study. This can be something which can potentially enhance the customer/business impact. Highlight productivity benefits/</a:t>
            </a:r>
            <a:r>
              <a:rPr lang="en-US" sz="2000">
                <a:solidFill>
                  <a:schemeClr val="tx1"/>
                </a:solidFill>
              </a:rPr>
              <a:t>cost savings.&gt;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14454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134736"/>
            <a:ext cx="10939749" cy="5381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Analytics overview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 to case study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Learnings &amp; enhancemen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What extra has been implemented in the case study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09" y="484742"/>
            <a:ext cx="1102421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3E7E601-D7F2-A43C-37FA-BD2736A077CF}"/>
              </a:ext>
            </a:extLst>
          </p:cNvPr>
          <p:cNvSpPr/>
          <p:nvPr/>
        </p:nvSpPr>
        <p:spPr>
          <a:xfrm>
            <a:off x="2576634" y="1538822"/>
            <a:ext cx="7034401" cy="3784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Participant image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Prof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o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  <a:cs typeface="Arial"/>
              </a:rPr>
              <a:t>How is Analytics leveraged in your function</a:t>
            </a:r>
          </a:p>
        </p:txBody>
      </p:sp>
    </p:spTree>
    <p:extLst>
      <p:ext uri="{BB962C8B-B14F-4D97-AF65-F5344CB8AC3E}">
        <p14:creationId xmlns:p14="http://schemas.microsoft.com/office/powerpoint/2010/main" val="3023193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ytics overview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here, your </a:t>
            </a:r>
            <a:r>
              <a:rPr lang="en-US" sz="2000" b="1" u="sng" dirty="0">
                <a:solidFill>
                  <a:schemeClr val="tx1"/>
                </a:solidFill>
              </a:rPr>
              <a:t>personal</a:t>
            </a:r>
            <a:r>
              <a:rPr lang="en-US" sz="2000" dirty="0">
                <a:solidFill>
                  <a:schemeClr val="tx1"/>
                </a:solidFill>
              </a:rPr>
              <a:t> definition of Analytics. Please share an example to detail this definition and how it is disrupting the Retail industr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837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 to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your understanding of the case study selected. Highlight the associated problems that would be addressed in this case study. You could refer to any real-life business scenario at your workplace that this case study addresses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931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benefi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highlight the benefits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371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representation (charts/diagrams/snapshots) of the solution design for this case study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snapshots (charts/snapshots)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565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details of your personal learnings from the case study implementation. What additional things could be implemented in the case study.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You may also include brief about the immediate/short-term opportunities you see to implement the learnings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820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91</TotalTime>
  <Words>344</Words>
  <Application>Microsoft Office PowerPoint</Application>
  <PresentationFormat>Widescreen</PresentationFormat>
  <Paragraphs>5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Atul Pahlazani</cp:lastModifiedBy>
  <cp:revision>440</cp:revision>
  <dcterms:created xsi:type="dcterms:W3CDTF">2022-01-18T12:35:56Z</dcterms:created>
  <dcterms:modified xsi:type="dcterms:W3CDTF">2023-08-26T03:4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8-26T03:49:20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df51f0b4-3a79-42d0-8db6-3a2ea8d5b560</vt:lpwstr>
  </property>
  <property fmtid="{D5CDD505-2E9C-101B-9397-08002B2CF9AE}" pid="10" name="MSIP_Label_b24820e8-223f-4ed2-bd95-81c83f641284_ContentBits">
    <vt:lpwstr>0</vt:lpwstr>
  </property>
</Properties>
</file>